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499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526250-78D5-4B39-86C7-CAFACAC41E98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6E56BC-9261-47F3-AA5F-4DD679AEE55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6657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860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03F34E7-3464-4182-BE08-35F762AFDE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C6910651-A071-4420-A613-A570E9E746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04F1210-7B14-4D9E-8126-27CC692881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4F4FB6-9328-475F-B2B2-002E62644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47A3013-6FB3-40B5-9A3C-1AAE5357C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2762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34A9B2-8F60-40ED-BB24-C5DB1DAC4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C6ED872-2968-400A-9F9C-72213D1C40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5929691-AF0C-4410-BBA1-5A4D10F2C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18141DD-70AC-4B8A-869E-C34F9387C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84E76B3-23C5-4FE6-A5C6-F81728FB8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5772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5178A50D-E320-4D27-8AA9-1D5B680249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74FF7D7D-5F7B-45A3-9057-E4ACEEFBF7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2685208-55D1-496B-837B-E2DE902744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B3BC30D-0514-4B37-ABAF-5964FD890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1FC3FD0-36F6-4DA4-83F5-5873E08B1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38611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71270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78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968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8833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3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EBA2F1B-8285-4C04-967E-29E9DDDFA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1876EFE-2668-445A-8303-DA5627113E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A107716-C202-4DC2-B35E-F874E6011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E92C60C-6DF8-4F97-A033-C7A921577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C7FFF0A-EC65-49A2-917D-F61B6F43A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69948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F1F84C4-B296-4A53-82C5-33466970F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C0B649D-8968-4A33-BF69-0D3E92E4D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0740C47-7AB4-4D18-A983-C4C6BCC73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73F50CA-E23A-4793-A5C5-2F66F8250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4000CB7-B32A-4B79-A813-916E2814F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595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303B082-FCEC-47E2-B58C-F997506A4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C864898-23A5-4FB0-A885-1B01B493CB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5339F15-2D97-46AE-91C9-E6EAA85AEB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4BE8F79-1486-44F8-A907-DC6BABADC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F19C388-1A94-4410-B08D-D8B7F1A00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F06976A6-9124-4D5F-91AF-1208EE03B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1997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80B85D9-211C-4443-B192-016F3649F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7A4AE5E-9359-4F55-9513-CD96D299F6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96D2CD7A-8D4F-43A2-AB75-C1FBFD0711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B84BA5C-B6A3-4EEE-9800-3D63927D3D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7CC74C0A-91F2-40AF-BB56-5684068511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5275596C-DD9D-4E74-A86F-7B18BF73F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91D2BE1E-E53C-40D4-B332-9CE3490F7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C55EFD4A-8665-4400-8B7A-161EB536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2981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3EB7B58-31A3-45FC-B3DC-1CC3C389C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0A1BD58-97D8-4B99-B1CE-DB370FF89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83B96A6-8E83-4432-ADBB-5D299D918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796C6CD-B4CA-47F5-8B62-5101C3BD7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31684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74A4E54-65CC-4F36-B4AA-424609BA8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6991AE7-25BF-4918-854B-C059ACBE87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B8A4CC6-6206-421C-B417-288DCCFD0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7548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33B9B7-808A-455D-A4AB-3B670BD441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E733291-C0DF-4B1D-8E0B-109C57C23F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29687BC-BAB5-43B4-A038-7AD6E59AA7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F6CB163-2AAD-4357-94B2-80285FD33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F37DB9C-A43A-49AE-8226-E92A2E270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EA16CB3B-8656-4474-A7E5-A6E330600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4410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C0589E-C19A-4885-BF2F-68480AADF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7AAC9E47-4ACD-4FD1-B3F1-51ABD2A911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AEC9AC1-064C-45E1-BD93-D35C9CC4D0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310C793-76B4-438D-80C8-A65480CE9B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3A4B3CC-ECC7-4416-81B2-31E5B603B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7645639-FE6B-4379-97A3-952708DAB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8579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24FF997-5835-4600-A007-F6A2B61F3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A97ABBA-1EDD-4929-B0FD-236D6BC51C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E272EAE-FA71-4565-952A-275A8E9FDB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C39735-B607-4A9D-82C5-58BC7012537E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0390326-2B9D-4DC3-BB19-A046DA906B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AF8F7FF-84C9-4C02-ACD7-3801D4FB9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B54F84-CA8E-402F-B1E2-93EE27528F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734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961528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16" Type="http://schemas.openxmlformats.org/officeDocument/2006/relationships/tags" Target="../tags/tag1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tags" Target="../tags/tag77.xml"/><Relationship Id="rId79" Type="http://schemas.openxmlformats.org/officeDocument/2006/relationships/image" Target="../media/image4.emf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oleObject" Target="../embeddings/oleObject5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2" Type="http://schemas.openxmlformats.org/officeDocument/2006/relationships/tags" Target="../tags/tag5.xml"/><Relationship Id="rId29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78" imgW="349" imgH="350" progId="TCLayout.ActiveDocument.1">
                  <p:embed/>
                </p:oleObj>
              </mc:Choice>
              <mc:Fallback>
                <p:oleObj name="think-cell 幻灯片" r:id="rId7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55FA8A69-E906-B6D7-07A6-7E81637AAE8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9901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project, projects, plan, planning</a:t>
            </a:r>
          </a:p>
        </p:txBody>
      </p:sp>
      <p:sp>
        <p:nvSpPr>
          <p:cNvPr id="83" name="Rectangle 520">
            <a:extLst>
              <a:ext uri="{FF2B5EF4-FFF2-40B4-BE49-F238E27FC236}">
                <a16:creationId xmlns:a16="http://schemas.microsoft.com/office/drawing/2014/main" id="{6AD61C7A-6002-F39C-A7DB-13FEFEEF28D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7988" y="2082800"/>
            <a:ext cx="7745413" cy="539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4" name="Rectangle 519">
            <a:extLst>
              <a:ext uri="{FF2B5EF4-FFF2-40B4-BE49-F238E27FC236}">
                <a16:creationId xmlns:a16="http://schemas.microsoft.com/office/drawing/2014/main" id="{83326CAF-85C1-6681-504D-2154F390815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07988" y="3057525"/>
            <a:ext cx="7745413" cy="5556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A4E5191-0A31-B60D-D063-9E15B37DC9E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7988" y="3613150"/>
            <a:ext cx="7745413" cy="55403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8" name="Rectangle 36">
            <a:extLst>
              <a:ext uri="{FF2B5EF4-FFF2-40B4-BE49-F238E27FC236}">
                <a16:creationId xmlns:a16="http://schemas.microsoft.com/office/drawing/2014/main" id="{4621AEFF-B818-E803-1A35-84B45A4118E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576638" y="2082800"/>
            <a:ext cx="896938" cy="327977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9" name="Rectangle 11">
            <a:extLst>
              <a:ext uri="{FF2B5EF4-FFF2-40B4-BE49-F238E27FC236}">
                <a16:creationId xmlns:a16="http://schemas.microsoft.com/office/drawing/2014/main" id="{4138E6F8-FEDE-D2DB-FBC3-A611E0B0F77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778125" y="1562100"/>
            <a:ext cx="1795463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F01FBDD-E215-482B-BC5D-220DEFBA0C09}" type="datetime'''''''''Q''''''''''''''''''1''''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1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0" name="Rectangle 11">
            <a:extLst>
              <a:ext uri="{FF2B5EF4-FFF2-40B4-BE49-F238E27FC236}">
                <a16:creationId xmlns:a16="http://schemas.microsoft.com/office/drawing/2014/main" id="{DA3817DE-3FDA-39B9-510C-A4928B14FA1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573588" y="1562100"/>
            <a:ext cx="1814513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38FFD8-94BB-4F96-91DF-46AA8F3729FC}" type="datetime'''Q''''''''2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Q2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1" name="Rectangle 9">
            <a:extLst>
              <a:ext uri="{FF2B5EF4-FFF2-40B4-BE49-F238E27FC236}">
                <a16:creationId xmlns:a16="http://schemas.microsoft.com/office/drawing/2014/main" id="{E2CB22D9-FC7B-4A86-3B8E-AA87C5A0061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778125" y="1822450"/>
            <a:ext cx="6175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53C553-8CFD-4A68-9603-6E4B94B195B7}" type="datetime'''''''''''''J''''''''''''''a''''''''''''''''''n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an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2" name="Rectangle 9">
            <a:extLst>
              <a:ext uri="{FF2B5EF4-FFF2-40B4-BE49-F238E27FC236}">
                <a16:creationId xmlns:a16="http://schemas.microsoft.com/office/drawing/2014/main" id="{35687A30-28ED-12F9-02CB-26FD15780BAD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395663" y="1822450"/>
            <a:ext cx="55880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5F6599-E4B7-4C68-9940-B9C31EEC0BCD}" type="datetime'''''''''''''''''''''''''''''''F''''''''''''e''''''''b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Feb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3" name="Rectangle 9">
            <a:extLst>
              <a:ext uri="{FF2B5EF4-FFF2-40B4-BE49-F238E27FC236}">
                <a16:creationId xmlns:a16="http://schemas.microsoft.com/office/drawing/2014/main" id="{83C174D4-6DB1-590A-C6D3-F1EE91C7BE0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954463" y="1822450"/>
            <a:ext cx="619125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0B8770-B00F-4DE0-AD42-FDE6C18A134E}" type="datetime'''''M''''''''''''''''''''''''''''''''''''a''r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r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4" name="Rectangle 9">
            <a:extLst>
              <a:ext uri="{FF2B5EF4-FFF2-40B4-BE49-F238E27FC236}">
                <a16:creationId xmlns:a16="http://schemas.microsoft.com/office/drawing/2014/main" id="{E87CA973-826E-DBBF-ACC6-C499D3EA34B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573588" y="1822450"/>
            <a:ext cx="5984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BF2143-F85E-40C5-99C2-E8D179BB0AB8}" type="datetime'''''''''''''''''A''''''''p''''''''''''r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pr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5" name="Rectangle 9">
            <a:extLst>
              <a:ext uri="{FF2B5EF4-FFF2-40B4-BE49-F238E27FC236}">
                <a16:creationId xmlns:a16="http://schemas.microsoft.com/office/drawing/2014/main" id="{47B347F7-B5B4-F7D0-509A-D0EB308BB8BC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172075" y="1822450"/>
            <a:ext cx="6175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57DAC7-A71F-44EB-B75C-F45DB1639287}" type="datetime'''''M''''''''''ay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y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6" name="Rectangle 9">
            <a:extLst>
              <a:ext uri="{FF2B5EF4-FFF2-40B4-BE49-F238E27FC236}">
                <a16:creationId xmlns:a16="http://schemas.microsoft.com/office/drawing/2014/main" id="{8D6D0147-AC84-164A-28AF-63306F87D4E3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789613" y="1822450"/>
            <a:ext cx="5984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8411118-9303-43CB-B147-F6964F61B6F1}" type="datetime'''''''''''''''''''''''''''''''''''''''J''un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un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97" name="Straight Connector 557">
            <a:extLst>
              <a:ext uri="{FF2B5EF4-FFF2-40B4-BE49-F238E27FC236}">
                <a16:creationId xmlns:a16="http://schemas.microsoft.com/office/drawing/2014/main" id="{ED319412-7FC6-8D01-197B-36026D360B25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2778125" y="2082800"/>
            <a:ext cx="0" cy="32797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03">
            <a:extLst>
              <a:ext uri="{FF2B5EF4-FFF2-40B4-BE49-F238E27FC236}">
                <a16:creationId xmlns:a16="http://schemas.microsoft.com/office/drawing/2014/main" id="{82F52794-A389-6101-501F-A4CEDC3BFB0C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4573588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560">
            <a:extLst>
              <a:ext uri="{FF2B5EF4-FFF2-40B4-BE49-F238E27FC236}">
                <a16:creationId xmlns:a16="http://schemas.microsoft.com/office/drawing/2014/main" id="{E1233FA7-D304-ECA4-C245-C9B8F2AB2A27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8153400" y="2082800"/>
            <a:ext cx="0" cy="32797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554">
            <a:extLst>
              <a:ext uri="{FF2B5EF4-FFF2-40B4-BE49-F238E27FC236}">
                <a16:creationId xmlns:a16="http://schemas.microsoft.com/office/drawing/2014/main" id="{777A5AC5-774D-7B41-6B25-295FCC90A05B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407988" y="2082800"/>
            <a:ext cx="0" cy="32797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556">
            <a:extLst>
              <a:ext uri="{FF2B5EF4-FFF2-40B4-BE49-F238E27FC236}">
                <a16:creationId xmlns:a16="http://schemas.microsoft.com/office/drawing/2014/main" id="{8B086C73-AF7B-2AA8-C30A-F5FF31591E96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6388100" y="2082800"/>
            <a:ext cx="0" cy="32797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39">
            <a:extLst>
              <a:ext uri="{FF2B5EF4-FFF2-40B4-BE49-F238E27FC236}">
                <a16:creationId xmlns:a16="http://schemas.microsoft.com/office/drawing/2014/main" id="{3736F44D-B911-5C45-F719-6DEBE880CEC5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5789613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875">
            <a:extLst>
              <a:ext uri="{FF2B5EF4-FFF2-40B4-BE49-F238E27FC236}">
                <a16:creationId xmlns:a16="http://schemas.microsoft.com/office/drawing/2014/main" id="{20E69483-BB60-78ED-D16B-26EF52409B05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3954463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874">
            <a:extLst>
              <a:ext uri="{FF2B5EF4-FFF2-40B4-BE49-F238E27FC236}">
                <a16:creationId xmlns:a16="http://schemas.microsoft.com/office/drawing/2014/main" id="{A2958712-D154-EA0E-5366-5C8A3A20AAEC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3395663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876">
            <a:extLst>
              <a:ext uri="{FF2B5EF4-FFF2-40B4-BE49-F238E27FC236}">
                <a16:creationId xmlns:a16="http://schemas.microsoft.com/office/drawing/2014/main" id="{EEB4AB21-5748-C340-4DE3-DFC9955AB5F8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5172075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585">
            <a:extLst>
              <a:ext uri="{FF2B5EF4-FFF2-40B4-BE49-F238E27FC236}">
                <a16:creationId xmlns:a16="http://schemas.microsoft.com/office/drawing/2014/main" id="{A2E52587-6AB6-0D7C-27C8-52CD19D4F0DF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407988" y="3613150"/>
            <a:ext cx="7745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583">
            <a:extLst>
              <a:ext uri="{FF2B5EF4-FFF2-40B4-BE49-F238E27FC236}">
                <a16:creationId xmlns:a16="http://schemas.microsoft.com/office/drawing/2014/main" id="{447EC23D-8A8E-85A2-73A5-5A4EF6B260AB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407988" y="4945063"/>
            <a:ext cx="774541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584">
            <a:extLst>
              <a:ext uri="{FF2B5EF4-FFF2-40B4-BE49-F238E27FC236}">
                <a16:creationId xmlns:a16="http://schemas.microsoft.com/office/drawing/2014/main" id="{B491D54A-AB2B-A36D-596F-35C8E340D382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407988" y="3057525"/>
            <a:ext cx="774541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41">
            <a:extLst>
              <a:ext uri="{FF2B5EF4-FFF2-40B4-BE49-F238E27FC236}">
                <a16:creationId xmlns:a16="http://schemas.microsoft.com/office/drawing/2014/main" id="{1799096A-2451-3C0E-4F71-D83B8AD8E60A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5570538" y="2082800"/>
            <a:ext cx="0" cy="3279775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587">
            <a:extLst>
              <a:ext uri="{FF2B5EF4-FFF2-40B4-BE49-F238E27FC236}">
                <a16:creationId xmlns:a16="http://schemas.microsoft.com/office/drawing/2014/main" id="{C5AF3D20-60F6-CFB7-4C96-651866041BBC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407988" y="5362575"/>
            <a:ext cx="77454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588">
            <a:extLst>
              <a:ext uri="{FF2B5EF4-FFF2-40B4-BE49-F238E27FC236}">
                <a16:creationId xmlns:a16="http://schemas.microsoft.com/office/drawing/2014/main" id="{8DFAEB11-FC71-440A-6B82-928127704811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407988" y="2082800"/>
            <a:ext cx="77454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Arrow: Pentagon 14">
            <a:extLst>
              <a:ext uri="{FF2B5EF4-FFF2-40B4-BE49-F238E27FC236}">
                <a16:creationId xmlns:a16="http://schemas.microsoft.com/office/drawing/2014/main" id="{C8A4EBAE-93B7-3BF6-2577-46B6F91F66AB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787650" y="2092324"/>
            <a:ext cx="1385888" cy="508000"/>
          </a:xfrm>
          <a:prstGeom prst="homePlate">
            <a:avLst>
              <a:gd name="adj" fmla="val 18125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3" name="Arrow: Pentagon 22">
            <a:extLst>
              <a:ext uri="{FF2B5EF4-FFF2-40B4-BE49-F238E27FC236}">
                <a16:creationId xmlns:a16="http://schemas.microsoft.com/office/drawing/2014/main" id="{A0E8DDA7-9BFA-055F-61EF-5861E2E2857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173538" y="3081337"/>
            <a:ext cx="758825" cy="508000"/>
          </a:xfrm>
          <a:prstGeom prst="homePlate">
            <a:avLst>
              <a:gd name="adj" fmla="val 18125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4" name="Arrow: Pentagon 23">
            <a:extLst>
              <a:ext uri="{FF2B5EF4-FFF2-40B4-BE49-F238E27FC236}">
                <a16:creationId xmlns:a16="http://schemas.microsoft.com/office/drawing/2014/main" id="{66745260-D36C-0975-7E45-135F28FDD575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4932364" y="3636962"/>
            <a:ext cx="638175" cy="508000"/>
          </a:xfrm>
          <a:prstGeom prst="homePlate">
            <a:avLst>
              <a:gd name="adj" fmla="val 18125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5" name="Arrow: Pentagon 25">
            <a:extLst>
              <a:ext uri="{FF2B5EF4-FFF2-40B4-BE49-F238E27FC236}">
                <a16:creationId xmlns:a16="http://schemas.microsoft.com/office/drawing/2014/main" id="{55A12E2A-C416-39C8-3E64-CFC0835AFA39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3616325" y="4189412"/>
            <a:ext cx="1116013" cy="508000"/>
          </a:xfrm>
          <a:prstGeom prst="homePlate">
            <a:avLst>
              <a:gd name="adj" fmla="val 18125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488" rIns="134938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7F2220-2854-4599-B519-EBE679D43C9A}" type="datetime'''''''''1''''''2'''''' ''''''F''''''eb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 Feb</a:t>
            </a:fld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- </a:t>
            </a:r>
            <a:fld id="{927C285D-07F7-4D5C-AAE4-EA87F0B4CD2B}" type="datetime'''''''''''''''''''''''''''''8 ''Ap''''''''''''''''r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 Apr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6" name="Rectangle 15">
            <a:extLst>
              <a:ext uri="{FF2B5EF4-FFF2-40B4-BE49-F238E27FC236}">
                <a16:creationId xmlns:a16="http://schemas.microsoft.com/office/drawing/2014/main" id="{45683839-99C3-30BD-EED7-22039A632771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2917825" y="2671763"/>
            <a:ext cx="896938" cy="98425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7" name="Rectangle 18">
            <a:extLst>
              <a:ext uri="{FF2B5EF4-FFF2-40B4-BE49-F238E27FC236}">
                <a16:creationId xmlns:a16="http://schemas.microsoft.com/office/drawing/2014/main" id="{1DD17689-972A-FD83-B8BE-477BFD7DB9AA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476625" y="2892425"/>
            <a:ext cx="43815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8" name="Rectangle 24">
            <a:extLst>
              <a:ext uri="{FF2B5EF4-FFF2-40B4-BE49-F238E27FC236}">
                <a16:creationId xmlns:a16="http://schemas.microsoft.com/office/drawing/2014/main" id="{06845F19-A398-C514-B05A-035E0FE59237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291138" y="4394200"/>
            <a:ext cx="27940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9" name="Rectangle 26">
            <a:extLst>
              <a:ext uri="{FF2B5EF4-FFF2-40B4-BE49-F238E27FC236}">
                <a16:creationId xmlns:a16="http://schemas.microsoft.com/office/drawing/2014/main" id="{8A7C2C21-6339-ED91-FC51-B80A1221234A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430838" y="4768850"/>
            <a:ext cx="83820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0" name="Right Bracket 30">
            <a:extLst>
              <a:ext uri="{FF2B5EF4-FFF2-40B4-BE49-F238E27FC236}">
                <a16:creationId xmlns:a16="http://schemas.microsoft.com/office/drawing/2014/main" id="{5076869A-A3AA-7A16-156A-A9A609B2F57C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 rot="5400000">
            <a:off x="3970338" y="5005388"/>
            <a:ext cx="107950" cy="8969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1" name="Isosceles Triangle 32">
            <a:extLst>
              <a:ext uri="{FF2B5EF4-FFF2-40B4-BE49-F238E27FC236}">
                <a16:creationId xmlns:a16="http://schemas.microsoft.com/office/drawing/2014/main" id="{0B338ADB-C92B-6DB3-003C-E86338709632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 rot="10800000">
            <a:off x="3917950" y="550703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2" name="Isosceles Triangle 37">
            <a:extLst>
              <a:ext uri="{FF2B5EF4-FFF2-40B4-BE49-F238E27FC236}">
                <a16:creationId xmlns:a16="http://schemas.microsoft.com/office/drawing/2014/main" id="{65744FC0-7B0C-EEA8-359E-7E1F9A17AFDA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513388" y="49990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3" name="Isosceles Triangle 21">
            <a:extLst>
              <a:ext uri="{FF2B5EF4-FFF2-40B4-BE49-F238E27FC236}">
                <a16:creationId xmlns:a16="http://schemas.microsoft.com/office/drawing/2014/main" id="{3780132E-1B76-F746-E0C8-C1E41D4090FD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4675188" y="49990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4" name="Isosceles Triangle 16">
            <a:extLst>
              <a:ext uri="{FF2B5EF4-FFF2-40B4-BE49-F238E27FC236}">
                <a16:creationId xmlns:a16="http://schemas.microsoft.com/office/drawing/2014/main" id="{7903FB93-6DA2-DB6B-DF01-6842DEA75D5D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4116388" y="49990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5" name="Oval 618">
            <a:extLst>
              <a:ext uri="{FF2B5EF4-FFF2-40B4-BE49-F238E27FC236}">
                <a16:creationId xmlns:a16="http://schemas.microsoft.com/office/drawing/2014/main" id="{650DB158-F6C6-1068-6412-28C1F6C93A0B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7694613" y="4724400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6" name="Oval 617">
            <a:extLst>
              <a:ext uri="{FF2B5EF4-FFF2-40B4-BE49-F238E27FC236}">
                <a16:creationId xmlns:a16="http://schemas.microsoft.com/office/drawing/2014/main" id="{ADAEC3DB-9AA8-8F8A-F6F3-77DA27ACCFE4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7694613" y="4341813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7" name="Oval 611">
            <a:extLst>
              <a:ext uri="{FF2B5EF4-FFF2-40B4-BE49-F238E27FC236}">
                <a16:creationId xmlns:a16="http://schemas.microsoft.com/office/drawing/2014/main" id="{7E4DB7EA-1CA9-D86C-49DE-E6BA40357E0B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7694613" y="2847975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8" name="Oval 613">
            <a:extLst>
              <a:ext uri="{FF2B5EF4-FFF2-40B4-BE49-F238E27FC236}">
                <a16:creationId xmlns:a16="http://schemas.microsoft.com/office/drawing/2014/main" id="{ECF5D930-8FE5-27EF-354D-A41A7EFF9051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694613" y="3233738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9" name="Oval 610">
            <a:extLst>
              <a:ext uri="{FF2B5EF4-FFF2-40B4-BE49-F238E27FC236}">
                <a16:creationId xmlns:a16="http://schemas.microsoft.com/office/drawing/2014/main" id="{658FCEDB-CC5A-ECBC-E9A2-92AFC80C28E6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7694613" y="2627313"/>
            <a:ext cx="187325" cy="187325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0" name="Oval 609">
            <a:extLst>
              <a:ext uri="{FF2B5EF4-FFF2-40B4-BE49-F238E27FC236}">
                <a16:creationId xmlns:a16="http://schemas.microsoft.com/office/drawing/2014/main" id="{A9400633-B9CD-7D2D-1C64-DB8CF8B39476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694613" y="2244725"/>
            <a:ext cx="187325" cy="187325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1" name="Oval 616">
            <a:extLst>
              <a:ext uri="{FF2B5EF4-FFF2-40B4-BE49-F238E27FC236}">
                <a16:creationId xmlns:a16="http://schemas.microsoft.com/office/drawing/2014/main" id="{DDC89C63-5B7F-C53C-F4EC-ACD04D40EF3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7694613" y="3789363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2" name="Text Placeholder 5">
            <a:extLst>
              <a:ext uri="{FF2B5EF4-FFF2-40B4-BE49-F238E27FC236}">
                <a16:creationId xmlns:a16="http://schemas.microsoft.com/office/drawing/2014/main" id="{F6BE2A5F-E80A-C7DF-D2E7-77DD112CEC9E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79425" y="4719638"/>
            <a:ext cx="2227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ccounting / tax advisor</a:t>
            </a:r>
          </a:p>
        </p:txBody>
      </p:sp>
      <p:sp>
        <p:nvSpPr>
          <p:cNvPr id="133" name="Text Placeholder 7">
            <a:extLst>
              <a:ext uri="{FF2B5EF4-FFF2-40B4-BE49-F238E27FC236}">
                <a16:creationId xmlns:a16="http://schemas.microsoft.com/office/drawing/2014/main" id="{EE31AEF8-8784-E287-1362-198E61AEA86E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6459538" y="4719638"/>
            <a:ext cx="965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Jami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34" name="Arc 639">
            <a:extLst>
              <a:ext uri="{FF2B5EF4-FFF2-40B4-BE49-F238E27FC236}">
                <a16:creationId xmlns:a16="http://schemas.microsoft.com/office/drawing/2014/main" id="{CF4FEF9C-E444-6E6B-B77D-3FE591C0B9B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7694613" y="4724400"/>
            <a:ext cx="187325" cy="1873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5" name="Rectangle 12">
            <a:extLst>
              <a:ext uri="{FF2B5EF4-FFF2-40B4-BE49-F238E27FC236}">
                <a16:creationId xmlns:a16="http://schemas.microsoft.com/office/drawing/2014/main" id="{31CF7C60-4244-35D7-E668-7A10F9541AE3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013200" y="5135563"/>
            <a:ext cx="320675" cy="2127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C1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 useBgFill="1">
        <p:nvSpPr>
          <p:cNvPr id="136" name="Rectangle 17">
            <a:extLst>
              <a:ext uri="{FF2B5EF4-FFF2-40B4-BE49-F238E27FC236}">
                <a16:creationId xmlns:a16="http://schemas.microsoft.com/office/drawing/2014/main" id="{91697585-E75C-EBDE-BF97-C943A2762CD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554537" y="5135563"/>
            <a:ext cx="357188" cy="212725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C2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 useBgFill="1">
        <p:nvSpPr>
          <p:cNvPr id="137" name="Rectangle 35">
            <a:extLst>
              <a:ext uri="{FF2B5EF4-FFF2-40B4-BE49-F238E27FC236}">
                <a16:creationId xmlns:a16="http://schemas.microsoft.com/office/drawing/2014/main" id="{E61EEBEA-1F89-EC11-F4A5-77D1860E4568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5081588" y="5135563"/>
            <a:ext cx="977900" cy="212725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roject en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7">
            <a:extLst>
              <a:ext uri="{FF2B5EF4-FFF2-40B4-BE49-F238E27FC236}">
                <a16:creationId xmlns:a16="http://schemas.microsoft.com/office/drawing/2014/main" id="{BAC3CBC1-A02A-94A1-5F50-B7C5E671A7EB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6459538" y="3784600"/>
            <a:ext cx="965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Jamie Doe </a:t>
            </a:r>
          </a:p>
        </p:txBody>
      </p:sp>
      <p:sp>
        <p:nvSpPr>
          <p:cNvPr id="139" name="Text Placeholder 5">
            <a:extLst>
              <a:ext uri="{FF2B5EF4-FFF2-40B4-BE49-F238E27FC236}">
                <a16:creationId xmlns:a16="http://schemas.microsoft.com/office/drawing/2014/main" id="{F7CA8928-05C7-2912-AE0C-CB1AACF586C5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79425" y="3784600"/>
            <a:ext cx="1174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Due diligence</a:t>
            </a:r>
          </a:p>
        </p:txBody>
      </p:sp>
      <p:sp>
        <p:nvSpPr>
          <p:cNvPr id="140" name="Arc 654">
            <a:extLst>
              <a:ext uri="{FF2B5EF4-FFF2-40B4-BE49-F238E27FC236}">
                <a16:creationId xmlns:a16="http://schemas.microsoft.com/office/drawing/2014/main" id="{E88AECD9-789A-B15C-6D18-9A3E2E1AFE0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7694613" y="3233738"/>
            <a:ext cx="187325" cy="1873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1" name="Text Placeholder 6">
            <a:extLst>
              <a:ext uri="{FF2B5EF4-FFF2-40B4-BE49-F238E27FC236}">
                <a16:creationId xmlns:a16="http://schemas.microsoft.com/office/drawing/2014/main" id="{631FE533-8DE9-88A7-D7AD-302375CC0459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479425" y="1846263"/>
            <a:ext cx="12382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roject phase</a:t>
            </a:r>
          </a:p>
        </p:txBody>
      </p:sp>
      <p:sp>
        <p:nvSpPr>
          <p:cNvPr id="142" name="Text Placeholder 5">
            <a:extLst>
              <a:ext uri="{FF2B5EF4-FFF2-40B4-BE49-F238E27FC236}">
                <a16:creationId xmlns:a16="http://schemas.microsoft.com/office/drawing/2014/main" id="{F07CF23E-7493-B098-7CA0-01FAAF810D6E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6459538" y="1846263"/>
            <a:ext cx="454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ead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72A321CC-C061-C7ED-72DE-387C0C4E08EB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96175" y="1866900"/>
            <a:ext cx="585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0196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Statu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4" name="Text Placeholder 7">
            <a:extLst>
              <a:ext uri="{FF2B5EF4-FFF2-40B4-BE49-F238E27FC236}">
                <a16:creationId xmlns:a16="http://schemas.microsoft.com/office/drawing/2014/main" id="{1E011545-DFC4-3376-FE62-8FAAF2991E9D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6459538" y="3228975"/>
            <a:ext cx="952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arah Doe </a:t>
            </a:r>
          </a:p>
        </p:txBody>
      </p:sp>
      <p:sp>
        <p:nvSpPr>
          <p:cNvPr id="145" name="Text Placeholder 5">
            <a:extLst>
              <a:ext uri="{FF2B5EF4-FFF2-40B4-BE49-F238E27FC236}">
                <a16:creationId xmlns:a16="http://schemas.microsoft.com/office/drawing/2014/main" id="{63928913-6647-3220-2A91-3FDF66D76B8C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79424" y="3228975"/>
            <a:ext cx="863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Marketing</a:t>
            </a:r>
          </a:p>
        </p:txBody>
      </p:sp>
      <p:sp>
        <p:nvSpPr>
          <p:cNvPr id="146" name="Rectangle 27">
            <a:extLst>
              <a:ext uri="{FF2B5EF4-FFF2-40B4-BE49-F238E27FC236}">
                <a16:creationId xmlns:a16="http://schemas.microsoft.com/office/drawing/2014/main" id="{0B4D4132-C728-F17F-EBF9-16AF70D1E357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3476625" y="5632449"/>
            <a:ext cx="1096963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Business tr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ingapore</a:t>
            </a:r>
          </a:p>
        </p:txBody>
      </p:sp>
      <p:sp>
        <p:nvSpPr>
          <p:cNvPr id="147" name="Text Placeholder 7">
            <a:extLst>
              <a:ext uri="{FF2B5EF4-FFF2-40B4-BE49-F238E27FC236}">
                <a16:creationId xmlns:a16="http://schemas.microsoft.com/office/drawing/2014/main" id="{99A89947-46A2-F6D8-0BFE-A3F2DDACEC59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6459538" y="2843213"/>
            <a:ext cx="823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aul Doe </a:t>
            </a:r>
          </a:p>
        </p:txBody>
      </p:sp>
      <p:sp>
        <p:nvSpPr>
          <p:cNvPr id="148" name="Text Placeholder 5">
            <a:extLst>
              <a:ext uri="{FF2B5EF4-FFF2-40B4-BE49-F238E27FC236}">
                <a16:creationId xmlns:a16="http://schemas.microsoft.com/office/drawing/2014/main" id="{AAC64F70-645A-A0A8-0D51-E4C425C19298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479425" y="4337050"/>
            <a:ext cx="1309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egal advisor</a:t>
            </a:r>
          </a:p>
        </p:txBody>
      </p:sp>
      <p:sp>
        <p:nvSpPr>
          <p:cNvPr id="149" name="Text Placeholder 5">
            <a:extLst>
              <a:ext uri="{FF2B5EF4-FFF2-40B4-BE49-F238E27FC236}">
                <a16:creationId xmlns:a16="http://schemas.microsoft.com/office/drawing/2014/main" id="{63FBF208-5A56-CA3C-0A96-FEACF6C993E9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479425" y="2843213"/>
            <a:ext cx="1309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Legal advisor</a:t>
            </a:r>
          </a:p>
        </p:txBody>
      </p:sp>
      <p:sp>
        <p:nvSpPr>
          <p:cNvPr id="150" name="Text Placeholder 7">
            <a:extLst>
              <a:ext uri="{FF2B5EF4-FFF2-40B4-BE49-F238E27FC236}">
                <a16:creationId xmlns:a16="http://schemas.microsoft.com/office/drawing/2014/main" id="{709B2ECE-6FA9-912D-D5B4-2371CD71B3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6459538" y="4337050"/>
            <a:ext cx="823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Paul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51" name="Text Placeholder 7">
            <a:extLst>
              <a:ext uri="{FF2B5EF4-FFF2-40B4-BE49-F238E27FC236}">
                <a16:creationId xmlns:a16="http://schemas.microsoft.com/office/drawing/2014/main" id="{6857701A-8767-97AD-B11E-FE14C6EF3579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6459538" y="2622550"/>
            <a:ext cx="898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eter Doe </a:t>
            </a:r>
          </a:p>
        </p:txBody>
      </p:sp>
      <p:sp>
        <p:nvSpPr>
          <p:cNvPr id="152" name="Text Placeholder 5">
            <a:extLst>
              <a:ext uri="{FF2B5EF4-FFF2-40B4-BE49-F238E27FC236}">
                <a16:creationId xmlns:a16="http://schemas.microsoft.com/office/drawing/2014/main" id="{49B3C3A8-E076-3F58-097F-E40957594C8E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479425" y="2622550"/>
            <a:ext cx="1609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marR="0" lvl="2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Strategic advisor</a:t>
            </a:r>
          </a:p>
        </p:txBody>
      </p:sp>
      <p:sp>
        <p:nvSpPr>
          <p:cNvPr id="153" name="Arc 663">
            <a:extLst>
              <a:ext uri="{FF2B5EF4-FFF2-40B4-BE49-F238E27FC236}">
                <a16:creationId xmlns:a16="http://schemas.microsoft.com/office/drawing/2014/main" id="{83E4C2FF-CD99-AFC6-51D0-B3CCA73B1BC3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7694613" y="4341813"/>
            <a:ext cx="187325" cy="1873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4" name="Text Placeholder 7">
            <a:extLst>
              <a:ext uri="{FF2B5EF4-FFF2-40B4-BE49-F238E27FC236}">
                <a16:creationId xmlns:a16="http://schemas.microsoft.com/office/drawing/2014/main" id="{BCE6F476-9348-0FE0-A60D-472DBBE05C2F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6459538" y="2239963"/>
            <a:ext cx="9175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Jamie Doe</a:t>
            </a:r>
          </a:p>
        </p:txBody>
      </p:sp>
      <p:sp>
        <p:nvSpPr>
          <p:cNvPr id="155" name="Text Placeholder 5">
            <a:extLst>
              <a:ext uri="{FF2B5EF4-FFF2-40B4-BE49-F238E27FC236}">
                <a16:creationId xmlns:a16="http://schemas.microsoft.com/office/drawing/2014/main" id="{E2F6BF91-C302-FADF-4A1E-D3C505CC7414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479425" y="2239963"/>
            <a:ext cx="1009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Preparation</a:t>
            </a:r>
          </a:p>
        </p:txBody>
      </p:sp>
      <p:sp>
        <p:nvSpPr>
          <p:cNvPr id="156" name="Arc 660">
            <a:extLst>
              <a:ext uri="{FF2B5EF4-FFF2-40B4-BE49-F238E27FC236}">
                <a16:creationId xmlns:a16="http://schemas.microsoft.com/office/drawing/2014/main" id="{9E035691-D107-909A-EB52-7E7473E650EA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7694613" y="3789363"/>
            <a:ext cx="187325" cy="1873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7" name="Text Placeholder 5">
            <a:extLst>
              <a:ext uri="{FF2B5EF4-FFF2-40B4-BE49-F238E27FC236}">
                <a16:creationId xmlns:a16="http://schemas.microsoft.com/office/drawing/2014/main" id="{F877FA5A-F890-1EA2-4CE8-E0241F9805DD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79425" y="4957763"/>
            <a:ext cx="1266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Decision gates</a:t>
            </a:r>
          </a:p>
        </p:txBody>
      </p:sp>
      <p:sp>
        <p:nvSpPr>
          <p:cNvPr id="159" name="Rechteck 137">
            <a:extLst>
              <a:ext uri="{FF2B5EF4-FFF2-40B4-BE49-F238E27FC236}">
                <a16:creationId xmlns:a16="http://schemas.microsoft.com/office/drawing/2014/main" id="{B911403A-DDF4-7D84-6A54-035C420C2141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163" name="tc_columnheader">
            <a:extLst>
              <a:ext uri="{FF2B5EF4-FFF2-40B4-BE49-F238E27FC236}">
                <a16:creationId xmlns:a16="http://schemas.microsoft.com/office/drawing/2014/main" id="{7D25E2CE-C343-C96E-813A-A203D36CA623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64" name="tc_columnhead">
              <a:extLst>
                <a:ext uri="{FF2B5EF4-FFF2-40B4-BE49-F238E27FC236}">
                  <a16:creationId xmlns:a16="http://schemas.microsoft.com/office/drawing/2014/main" id="{8C9BE8E2-16F5-CA72-A808-14DFF0694C3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165" name="tc_columnheadline">
              <a:extLst>
                <a:ext uri="{FF2B5EF4-FFF2-40B4-BE49-F238E27FC236}">
                  <a16:creationId xmlns:a16="http://schemas.microsoft.com/office/drawing/2014/main" id="{FFF3ECD2-A32D-A5B6-0701-0BEE651A7880}"/>
                </a:ext>
              </a:extLst>
            </p:cNvPr>
            <p:cNvCxnSpPr>
              <a:cxnSpLocks/>
              <a:stCxn id="164" idx="4"/>
              <a:endCxn id="16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18">
            <a:extLst>
              <a:ext uri="{FF2B5EF4-FFF2-40B4-BE49-F238E27FC236}">
                <a16:creationId xmlns:a16="http://schemas.microsoft.com/office/drawing/2014/main" id="{ABAE35B7-1280-37E7-F26F-DE59BB92ABBF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Gantt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open the calenda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 the calendar scale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add timeline item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right-click the body of the chart to open the context menu.</a:t>
            </a:r>
          </a:p>
          <a:p>
            <a:pPr marL="86995" marR="0" lvl="0" indent="-869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mark label column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sponsible label column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right-click the chart's first column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7978DC7-8B94-4F38-817F-642FA982C097}"/>
              </a:ext>
            </a:extLst>
          </p:cNvPr>
          <p:cNvSpPr txBox="1"/>
          <p:nvPr/>
        </p:nvSpPr>
        <p:spPr>
          <a:xfrm>
            <a:off x="4675188" y="873303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>
                <a:solidFill>
                  <a:srgbClr val="575757"/>
                </a:solidFill>
              </a:rPr>
              <a:t>请手动填充图表内数据</a:t>
            </a:r>
            <a:endParaRPr lang="zh-CN" altLang="en-US" dirty="0" err="1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5056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PzEvnLQVI4WvcJ.0l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_oFb1ISBCgOlCbNM9W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KPt4dEmlXEVu4FR_kK3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1nf_AfrBgxwXpdEHav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xYiID1Ely.uqKCNQQz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.fmNuYBMFSrL8YOUJX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mymn26XzDs17rJdUsD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sjPJZnJfvhKIRuBaa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aUQg8Mjsa5byQEL79a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D0SMk7jYXtaP.NDQ0P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r7kyycjocpCAwJ3aCH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2B3lVBpv5zI1xD3oOc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iMvSLQWFZFmEAgCy4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eb5l_D9o.idK5I5Yqw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L4Kle5SBMhSjhDl5lG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sJLvth5H34cIn0SqKM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TNJK5MSihCedz_GBIq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uf7dL9H18rOjhBlzgX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PqIQoB27Is2ngW7pA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n9YbOBJbk.NaigxRV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5qmeBiSWlxJ9e3lD_w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kvxTtIpwNE_w3mCEiA9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R9j0wTGPi_4kMr7Tdu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Zn7P1cuKfZBHZCmd9p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5GeI_AV2xMvtv3vy6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yCvNqI7.dSYTJqGdNvA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bIhlaIjNkk_gQ3aFVB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8bNn0nPx6fCicxct1e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2IOwOK44qKauTfeqd2s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2FKxp5pcsaEhnXAYZ9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hXGI2Ob331ctMtaIF0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J_GV.Z198k139BLjZb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_bbMWPdQM4VN5n9e3T1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aMWX0LozGR7.cQjkAK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Qb.FURtNgV87.ceXj0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_ZC7Knb37aD_ewkJZl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0GYjBqSe5Az0onLWgG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taDbVKNRg7..xtWzxx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X7.qlKLWx9YzNc3suA2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dJVPOQmWczvZax7fQx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h2o_6oUTp.IckzJLMi7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oHjm7HgjekSs.aD.4Z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hCNlnmpjDqRp_XoNzsE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UgQInxavCaWI7TFZUm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7BZKN9WMclt6ccXFgv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IDf5d8PqnUI4AGyW60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M_kWm12YYzLlX2XP4C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NQpLBqcGlbpLLN8aji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sXFd0s7wIY3FPnVMHu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lM1.EptNtw5RQqCt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E0OLgFL.iJVKgHVSdBl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C7jbTTwhnRok96Mg82O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upYHqXUNAa2vTZ9jJX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Q3f4KQlT5cI6ki0e8G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7kCrrZTImxNHJu4XWT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R5Hl8Vor80ZVHG0SYS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KTR48DyOP_kRR.PExt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YJmO6dNr5Lc1gOgeE4t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nUAG5muLDKAc.v18NA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s9uoC3M8Gr31f0Yf9.Y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Ll4SP_.5kgCdBbxZXZ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hE03vDPY5Z9A9sIgBx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WQuE5s8SGMOXcVySFZP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TO1tkddDeXxfTbuhuzX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OE0tikXv95YfHXKkM5r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fNfRkESiO_l4li5TYaM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z2OAMPoNlfIcgO91D94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K6klt83JUX.dRkAcvp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h8NP1JGw.E4yhF8kIg5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YQ6b.FMVRjChKtujyC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vX3Hozxv6MkQN0kNJe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XFhNECNnJFuBF5M9xh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Sdp9teEA3RYFugqrp6mA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5</Words>
  <Application>Microsoft Office PowerPoint</Application>
  <PresentationFormat>宽屏</PresentationFormat>
  <Paragraphs>4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等线 Light</vt:lpstr>
      <vt:lpstr>理想品牌字体 2022</vt:lpstr>
      <vt:lpstr>Arial</vt:lpstr>
      <vt:lpstr>Calibri</vt:lpstr>
      <vt:lpstr>Trebuchet MS</vt:lpstr>
      <vt:lpstr>Office 主题​​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23:49Z</dcterms:created>
  <dcterms:modified xsi:type="dcterms:W3CDTF">2025-09-10T07:24:34Z</dcterms:modified>
</cp:coreProperties>
</file>